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13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109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1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628145"/>
              </p:ext>
            </p:extLst>
          </p:nvPr>
        </p:nvGraphicFramePr>
        <p:xfrm>
          <a:off x="376606" y="805063"/>
          <a:ext cx="11519385" cy="561331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32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9698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největší zátěž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ecně stran personálu – spousta PN (mim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chody ze ZZ- Někteří nechtějí zažít další vlnu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7471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9765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é %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, ECMO kapacita dostatečná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cho pře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kronovo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ouří?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2762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jvětší zátěž zatím stále nemocnice Nové Město n/M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11575"/>
              </p:ext>
            </p:extLst>
          </p:nvPr>
        </p:nvGraphicFramePr>
        <p:xfrm>
          <a:off x="434413" y="847512"/>
          <a:ext cx="11435203" cy="506634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C19 případů, stále poměrně vysoké počty na JIP. Očekávaný výpadek personálu v souvislosti s šířením varianty omikron způsobí velké problémy se zajištěním péče. Podpora HZS/AČR nadále zásadní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, nelze spustit elektivní operativu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dále identický problém – ARO/JIP zaplněny velkým množstvím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, většina z nich nadále na UPV a/anebo ECMO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1.1.2022 </a:t>
            </a:r>
            <a:r>
              <a:rPr lang="cs-CZ" b="1" dirty="0" smtClean="0"/>
              <a:t>00:33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60</a:t>
            </a:r>
            <a:endParaRPr lang="cs-CZ" b="1" dirty="0" smtClean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436600"/>
              </p:ext>
            </p:extLst>
          </p:nvPr>
        </p:nvGraphicFramePr>
        <p:xfrm>
          <a:off x="332817" y="997522"/>
          <a:ext cx="8338823" cy="5357097"/>
        </p:xfrm>
        <a:graphic>
          <a:graphicData uri="http://schemas.openxmlformats.org/drawingml/2006/table">
            <a:tbl>
              <a:tblPr/>
              <a:tblGrid>
                <a:gridCol w="2221529">
                  <a:extLst>
                    <a:ext uri="{9D8B030D-6E8A-4147-A177-3AD203B41FA5}">
                      <a16:colId xmlns:a16="http://schemas.microsoft.com/office/drawing/2014/main" val="35548597"/>
                    </a:ext>
                  </a:extLst>
                </a:gridCol>
                <a:gridCol w="1265242">
                  <a:extLst>
                    <a:ext uri="{9D8B030D-6E8A-4147-A177-3AD203B41FA5}">
                      <a16:colId xmlns:a16="http://schemas.microsoft.com/office/drawing/2014/main" val="844054686"/>
                    </a:ext>
                  </a:extLst>
                </a:gridCol>
                <a:gridCol w="1250529">
                  <a:extLst>
                    <a:ext uri="{9D8B030D-6E8A-4147-A177-3AD203B41FA5}">
                      <a16:colId xmlns:a16="http://schemas.microsoft.com/office/drawing/2014/main" val="2471339104"/>
                    </a:ext>
                  </a:extLst>
                </a:gridCol>
                <a:gridCol w="1250529">
                  <a:extLst>
                    <a:ext uri="{9D8B030D-6E8A-4147-A177-3AD203B41FA5}">
                      <a16:colId xmlns:a16="http://schemas.microsoft.com/office/drawing/2014/main" val="787996308"/>
                    </a:ext>
                  </a:extLst>
                </a:gridCol>
                <a:gridCol w="1309378">
                  <a:extLst>
                    <a:ext uri="{9D8B030D-6E8A-4147-A177-3AD203B41FA5}">
                      <a16:colId xmlns:a16="http://schemas.microsoft.com/office/drawing/2014/main" val="4158783969"/>
                    </a:ext>
                  </a:extLst>
                </a:gridCol>
                <a:gridCol w="1041616">
                  <a:extLst>
                    <a:ext uri="{9D8B030D-6E8A-4147-A177-3AD203B41FA5}">
                      <a16:colId xmlns:a16="http://schemas.microsoft.com/office/drawing/2014/main" val="2831229729"/>
                    </a:ext>
                  </a:extLst>
                </a:gridCol>
              </a:tblGrid>
              <a:tr h="22653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4364673"/>
                  </a:ext>
                </a:extLst>
              </a:tr>
              <a:tr h="22653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296510"/>
                  </a:ext>
                </a:extLst>
              </a:tr>
              <a:tr h="19348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791208"/>
                  </a:ext>
                </a:extLst>
              </a:tr>
              <a:tr h="2006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503797"/>
                  </a:ext>
                </a:extLst>
              </a:tr>
              <a:tr h="78316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113543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362146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263812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703234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287116"/>
                  </a:ext>
                </a:extLst>
              </a:tr>
              <a:tr h="2022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263016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952555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753232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427376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097634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989065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26318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869119"/>
                  </a:ext>
                </a:extLst>
              </a:tr>
              <a:tr h="1941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10492"/>
                  </a:ext>
                </a:extLst>
              </a:tr>
              <a:tr h="2184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620083"/>
                  </a:ext>
                </a:extLst>
              </a:tr>
              <a:tr h="2006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5080295"/>
                  </a:ext>
                </a:extLst>
              </a:tr>
              <a:tr h="19417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160393"/>
                  </a:ext>
                </a:extLst>
              </a:tr>
              <a:tr h="19348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3814682"/>
                  </a:ext>
                </a:extLst>
              </a:tr>
              <a:tr h="19348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95628"/>
                  </a:ext>
                </a:extLst>
              </a:tr>
              <a:tr h="19417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99200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054341"/>
              </p:ext>
            </p:extLst>
          </p:nvPr>
        </p:nvGraphicFramePr>
        <p:xfrm>
          <a:off x="332820" y="969818"/>
          <a:ext cx="10261289" cy="5440220"/>
        </p:xfrm>
        <a:graphic>
          <a:graphicData uri="http://schemas.openxmlformats.org/drawingml/2006/table">
            <a:tbl>
              <a:tblPr/>
              <a:tblGrid>
                <a:gridCol w="2252771">
                  <a:extLst>
                    <a:ext uri="{9D8B030D-6E8A-4147-A177-3AD203B41FA5}">
                      <a16:colId xmlns:a16="http://schemas.microsoft.com/office/drawing/2014/main" val="1488171832"/>
                    </a:ext>
                  </a:extLst>
                </a:gridCol>
                <a:gridCol w="1283034">
                  <a:extLst>
                    <a:ext uri="{9D8B030D-6E8A-4147-A177-3AD203B41FA5}">
                      <a16:colId xmlns:a16="http://schemas.microsoft.com/office/drawing/2014/main" val="3865953338"/>
                    </a:ext>
                  </a:extLst>
                </a:gridCol>
                <a:gridCol w="1268116">
                  <a:extLst>
                    <a:ext uri="{9D8B030D-6E8A-4147-A177-3AD203B41FA5}">
                      <a16:colId xmlns:a16="http://schemas.microsoft.com/office/drawing/2014/main" val="562060412"/>
                    </a:ext>
                  </a:extLst>
                </a:gridCol>
                <a:gridCol w="1268116">
                  <a:extLst>
                    <a:ext uri="{9D8B030D-6E8A-4147-A177-3AD203B41FA5}">
                      <a16:colId xmlns:a16="http://schemas.microsoft.com/office/drawing/2014/main" val="1606186994"/>
                    </a:ext>
                  </a:extLst>
                </a:gridCol>
                <a:gridCol w="1327789">
                  <a:extLst>
                    <a:ext uri="{9D8B030D-6E8A-4147-A177-3AD203B41FA5}">
                      <a16:colId xmlns:a16="http://schemas.microsoft.com/office/drawing/2014/main" val="2821836396"/>
                    </a:ext>
                  </a:extLst>
                </a:gridCol>
                <a:gridCol w="1056264">
                  <a:extLst>
                    <a:ext uri="{9D8B030D-6E8A-4147-A177-3AD203B41FA5}">
                      <a16:colId xmlns:a16="http://schemas.microsoft.com/office/drawing/2014/main" val="3035859292"/>
                    </a:ext>
                  </a:extLst>
                </a:gridCol>
                <a:gridCol w="1805199">
                  <a:extLst>
                    <a:ext uri="{9D8B030D-6E8A-4147-A177-3AD203B41FA5}">
                      <a16:colId xmlns:a16="http://schemas.microsoft.com/office/drawing/2014/main" val="2483534881"/>
                    </a:ext>
                  </a:extLst>
                </a:gridCol>
              </a:tblGrid>
              <a:tr h="21748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35993"/>
                  </a:ext>
                </a:extLst>
              </a:tr>
              <a:tr h="23066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6089303"/>
                  </a:ext>
                </a:extLst>
              </a:tr>
              <a:tr h="196556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1013553"/>
                  </a:ext>
                </a:extLst>
              </a:tr>
              <a:tr h="2043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5267499"/>
                  </a:ext>
                </a:extLst>
              </a:tr>
              <a:tr h="79744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896175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1920437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635973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5489056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8704239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1669080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08691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98464"/>
                  </a:ext>
                </a:extLst>
              </a:tr>
              <a:tr h="20595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856879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932922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0963911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0246133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4749334"/>
                  </a:ext>
                </a:extLst>
              </a:tr>
              <a:tr h="1977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3647197"/>
                  </a:ext>
                </a:extLst>
              </a:tr>
              <a:tr h="2043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920615"/>
                  </a:ext>
                </a:extLst>
              </a:tr>
              <a:tr h="2224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6371351"/>
                  </a:ext>
                </a:extLst>
              </a:tr>
              <a:tr h="19771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159091"/>
                  </a:ext>
                </a:extLst>
              </a:tr>
              <a:tr h="196556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95577"/>
                  </a:ext>
                </a:extLst>
              </a:tr>
              <a:tr h="1965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7905721"/>
                  </a:ext>
                </a:extLst>
              </a:tr>
              <a:tr h="19771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0566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1.1.2022 </a:t>
            </a:r>
            <a:r>
              <a:rPr lang="cs-CZ" b="1" dirty="0" smtClean="0"/>
              <a:t>00:33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1 </a:t>
            </a:r>
            <a:r>
              <a:rPr lang="cs-CZ" sz="2000" b="1" dirty="0" smtClean="0"/>
              <a:t>89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029292"/>
              </p:ext>
            </p:extLst>
          </p:nvPr>
        </p:nvGraphicFramePr>
        <p:xfrm>
          <a:off x="332817" y="997522"/>
          <a:ext cx="8867830" cy="5338616"/>
        </p:xfrm>
        <a:graphic>
          <a:graphicData uri="http://schemas.openxmlformats.org/drawingml/2006/table">
            <a:tbl>
              <a:tblPr/>
              <a:tblGrid>
                <a:gridCol w="1876460">
                  <a:extLst>
                    <a:ext uri="{9D8B030D-6E8A-4147-A177-3AD203B41FA5}">
                      <a16:colId xmlns:a16="http://schemas.microsoft.com/office/drawing/2014/main" val="2522747861"/>
                    </a:ext>
                  </a:extLst>
                </a:gridCol>
                <a:gridCol w="1068712">
                  <a:extLst>
                    <a:ext uri="{9D8B030D-6E8A-4147-A177-3AD203B41FA5}">
                      <a16:colId xmlns:a16="http://schemas.microsoft.com/office/drawing/2014/main" val="458143649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1466701718"/>
                    </a:ext>
                  </a:extLst>
                </a:gridCol>
                <a:gridCol w="1056286">
                  <a:extLst>
                    <a:ext uri="{9D8B030D-6E8A-4147-A177-3AD203B41FA5}">
                      <a16:colId xmlns:a16="http://schemas.microsoft.com/office/drawing/2014/main" val="1041796314"/>
                    </a:ext>
                  </a:extLst>
                </a:gridCol>
                <a:gridCol w="1105994">
                  <a:extLst>
                    <a:ext uri="{9D8B030D-6E8A-4147-A177-3AD203B41FA5}">
                      <a16:colId xmlns:a16="http://schemas.microsoft.com/office/drawing/2014/main" val="2760652962"/>
                    </a:ext>
                  </a:extLst>
                </a:gridCol>
                <a:gridCol w="1503654">
                  <a:extLst>
                    <a:ext uri="{9D8B030D-6E8A-4147-A177-3AD203B41FA5}">
                      <a16:colId xmlns:a16="http://schemas.microsoft.com/office/drawing/2014/main" val="2138579693"/>
                    </a:ext>
                  </a:extLst>
                </a:gridCol>
                <a:gridCol w="1200438">
                  <a:extLst>
                    <a:ext uri="{9D8B030D-6E8A-4147-A177-3AD203B41FA5}">
                      <a16:colId xmlns:a16="http://schemas.microsoft.com/office/drawing/2014/main" val="3281493021"/>
                    </a:ext>
                  </a:extLst>
                </a:gridCol>
              </a:tblGrid>
              <a:tr h="22527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2871700"/>
                  </a:ext>
                </a:extLst>
              </a:tr>
              <a:tr h="2252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0437525"/>
                  </a:ext>
                </a:extLst>
              </a:tr>
              <a:tr h="19258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1307930"/>
                  </a:ext>
                </a:extLst>
              </a:tr>
              <a:tr h="2252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650161"/>
                  </a:ext>
                </a:extLst>
              </a:tr>
              <a:tr h="58571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866129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20878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361806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595823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306722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88120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902899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3002852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354411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535743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776074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5109058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511655"/>
                  </a:ext>
                </a:extLst>
              </a:tr>
              <a:tr h="1930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7122698"/>
                  </a:ext>
                </a:extLst>
              </a:tr>
              <a:tr h="1995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9204"/>
                  </a:ext>
                </a:extLst>
              </a:tr>
              <a:tr h="21723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6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36993"/>
                  </a:ext>
                </a:extLst>
              </a:tr>
              <a:tr h="19309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422636"/>
                  </a:ext>
                </a:extLst>
              </a:tr>
              <a:tr h="192584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112224"/>
                  </a:ext>
                </a:extLst>
              </a:tr>
              <a:tr h="37873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649169"/>
                  </a:ext>
                </a:extLst>
              </a:tr>
              <a:tr h="1930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5867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1.2022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066636"/>
              </p:ext>
            </p:extLst>
          </p:nvPr>
        </p:nvGraphicFramePr>
        <p:xfrm>
          <a:off x="1062182" y="1052933"/>
          <a:ext cx="6781588" cy="1302340"/>
        </p:xfrm>
        <a:graphic>
          <a:graphicData uri="http://schemas.openxmlformats.org/drawingml/2006/table">
            <a:tbl>
              <a:tblPr/>
              <a:tblGrid>
                <a:gridCol w="3899772">
                  <a:extLst>
                    <a:ext uri="{9D8B030D-6E8A-4147-A177-3AD203B41FA5}">
                      <a16:colId xmlns:a16="http://schemas.microsoft.com/office/drawing/2014/main" val="3935531579"/>
                    </a:ext>
                  </a:extLst>
                </a:gridCol>
                <a:gridCol w="688194">
                  <a:extLst>
                    <a:ext uri="{9D8B030D-6E8A-4147-A177-3AD203B41FA5}">
                      <a16:colId xmlns:a16="http://schemas.microsoft.com/office/drawing/2014/main" val="2519165876"/>
                    </a:ext>
                  </a:extLst>
                </a:gridCol>
                <a:gridCol w="2193622">
                  <a:extLst>
                    <a:ext uri="{9D8B030D-6E8A-4147-A177-3AD203B41FA5}">
                      <a16:colId xmlns:a16="http://schemas.microsoft.com/office/drawing/2014/main" val="633934576"/>
                    </a:ext>
                  </a:extLst>
                </a:gridCol>
              </a:tblGrid>
              <a:tr h="1878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lední aktualizace</a:t>
                      </a:r>
                    </a:p>
                  </a:txBody>
                  <a:tcPr marL="5629" marR="5629" marT="56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5071135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ESSENIA a.s., Rehabilitační nemocnice Beroun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12.2021 8:46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2646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2:37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908023"/>
                  </a:ext>
                </a:extLst>
              </a:tr>
              <a:tr h="247747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515667"/>
                  </a:ext>
                </a:extLst>
              </a:tr>
              <a:tr h="1878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20:5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853090"/>
                  </a:ext>
                </a:extLst>
              </a:tr>
              <a:tr h="239597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MN, a.s., Nemocnice Jilemnice</a:t>
                      </a:r>
                    </a:p>
                  </a:txBody>
                  <a:tcPr marL="5629" marR="5629" marT="5629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5:49</a:t>
                      </a:r>
                    </a:p>
                  </a:txBody>
                  <a:tcPr marL="5629" marR="5629" marT="562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2957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0321603"/>
              </p:ext>
            </p:extLst>
          </p:nvPr>
        </p:nvGraphicFramePr>
        <p:xfrm>
          <a:off x="905440" y="1861611"/>
          <a:ext cx="8652072" cy="37609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1.1.2022 0:33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353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dirty="0" smtClean="0">
                          <a:solidFill>
                            <a:srgbClr val="201F1E"/>
                          </a:solidFill>
                          <a:effectLst/>
                          <a:latin typeface="Segoe UI Web (East European)"/>
                        </a:rPr>
                        <a:t>Počet hospitalizovaných mimo JIP vs. Očkování: </a:t>
                      </a:r>
                      <a:r>
                        <a:rPr lang="cs-CZ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893</a:t>
                      </a:r>
                      <a:endParaRPr lang="cs-CZ" sz="14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cs-CZ" sz="1400" b="0" dirty="0" smtClean="0">
                        <a:latin typeface="+mj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13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6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61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2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32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2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53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8,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89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9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8,6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13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415299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0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803513" y="3270765"/>
            <a:ext cx="109537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10.1. bylo 127 nově přijatých C+ pacientů a 249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, nižší počty příjmů C+ pac, nadále vysoká zátěž IP -&gt; long COVID pacienti vyžadující UPV/ECMO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ostupné navyšování elektivní péče v některých krajích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ersonální stránka – je očekáván výpadek personálu v souvislosti s vlnou 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micron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533277"/>
              </p:ext>
            </p:extLst>
          </p:nvPr>
        </p:nvGraphicFramePr>
        <p:xfrm>
          <a:off x="332646" y="735378"/>
          <a:ext cx="11405086" cy="5036646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,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ále omezená, odlišně v různých ZZ dle konkrétní situace. I přes to občas problém s příjm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nízk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ian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u vůči neočkovaným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tento týden mírně uvolněn, onkologická aj. neodkladná operativa zcela bez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.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zatím s dostatečnou kapacitou při spíše nižším počtu příjmů. Část navýšených kapacit uzavřena, na úkor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ale udržována částečně navýšená kapacita standardní i IP péče v očekávání další vlny epidemie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časně pozastavena činnosti někter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jednotek, část COVID+ jednotek intenzivní péče pracuje nyní v hybridním režimu. Dočasně parciálně nebo plně obnovena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478871"/>
              </p:ext>
            </p:extLst>
          </p:nvPr>
        </p:nvGraphicFramePr>
        <p:xfrm>
          <a:off x="288084" y="735513"/>
          <a:ext cx="11587543" cy="601589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ásadní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, deeskal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n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ek na běžný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režim. V připravenost opatř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e tak IP pro variantu omikron či jiné mutace. Personál již delší dobu za hranou svých možností, převádění nevybrané dovolené, volna, podíl profesní frustrace…takže komplexní únava systém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tlak na následnou péči. Vš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 je za hranou svých možností a kapacit, převádí již druhým rokem strašlivá kvanta dovolené a osobního voln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605</TotalTime>
  <Words>2098</Words>
  <Application>Microsoft Office PowerPoint</Application>
  <PresentationFormat>Širokoúhlá obrazovka</PresentationFormat>
  <Paragraphs>549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Calibri</vt:lpstr>
      <vt:lpstr>Segoe UI</vt:lpstr>
      <vt:lpstr>Segoe UI Web (East European)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868</cp:revision>
  <cp:lastPrinted>2020-10-20T04:21:56Z</cp:lastPrinted>
  <dcterms:created xsi:type="dcterms:W3CDTF">2020-07-15T10:33:32Z</dcterms:created>
  <dcterms:modified xsi:type="dcterms:W3CDTF">2022-01-11T10:45:53Z</dcterms:modified>
</cp:coreProperties>
</file>